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BDBD"/>
    <a:srgbClr val="727272"/>
    <a:srgbClr val="E5E5E5"/>
    <a:srgbClr val="D9D9D9"/>
    <a:srgbClr val="444444"/>
    <a:srgbClr val="EB0000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42735900-987A-4A68-87CF-815903D0D2B3}"/>
    <pc:docChg chg="modSld">
      <pc:chgData name="Weigel Stefan (PAR-EPS)" userId="fd3b2067-2981-4ad8-bf3a-d2e1004e4fa8" providerId="ADAL" clId="{42735900-987A-4A68-87CF-815903D0D2B3}" dt="2024-02-01T17:23:35.291" v="5" actId="27918"/>
      <pc:docMkLst>
        <pc:docMk/>
      </pc:docMkLst>
      <pc:sldChg chg="mod">
        <pc:chgData name="Weigel Stefan (PAR-EPS)" userId="fd3b2067-2981-4ad8-bf3a-d2e1004e4fa8" providerId="ADAL" clId="{42735900-987A-4A68-87CF-815903D0D2B3}" dt="2024-02-01T17:23:35.291" v="5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Weigel Stefan (PAR-ES)" userId="fd3b2067-2981-4ad8-bf3a-d2e1004e4fa8" providerId="ADAL" clId="{A1A3D639-3142-44F7-B597-0CB5579B85F0}"/>
    <pc:docChg chg="modSld">
      <pc:chgData name="Weigel Stefan (PAR-ES)" userId="fd3b2067-2981-4ad8-bf3a-d2e1004e4fa8" providerId="ADAL" clId="{A1A3D639-3142-44F7-B597-0CB5579B85F0}" dt="2023-01-25T14:24:56.924" v="94" actId="692"/>
      <pc:docMkLst>
        <pc:docMk/>
      </pc:docMkLst>
      <pc:sldChg chg="modSp mod">
        <pc:chgData name="Weigel Stefan (PAR-ES)" userId="fd3b2067-2981-4ad8-bf3a-d2e1004e4fa8" providerId="ADAL" clId="{A1A3D639-3142-44F7-B597-0CB5579B85F0}" dt="2023-01-25T14:24:56.924" v="94" actId="692"/>
        <pc:sldMkLst>
          <pc:docMk/>
          <pc:sldMk cId="2338066774" sldId="399"/>
        </pc:sldMkLst>
        <pc:spChg chg="mod">
          <ac:chgData name="Weigel Stefan (PAR-ES)" userId="fd3b2067-2981-4ad8-bf3a-d2e1004e4fa8" providerId="ADAL" clId="{A1A3D639-3142-44F7-B597-0CB5579B85F0}" dt="2023-01-16T16:07:41.308" v="93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A1A3D639-3142-44F7-B597-0CB5579B85F0}" dt="2023-01-16T16:07:36.601" v="91" actId="1076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S)" userId="fd3b2067-2981-4ad8-bf3a-d2e1004e4fa8" providerId="ADAL" clId="{A1A3D639-3142-44F7-B597-0CB5579B85F0}" dt="2023-01-16T16:07:27.343" v="90" actId="1076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Weigel Stefan (PAR-ES)" userId="fd3b2067-2981-4ad8-bf3a-d2e1004e4fa8" providerId="ADAL" clId="{A1A3D639-3142-44F7-B597-0CB5579B85F0}" dt="2023-01-25T14:24:56.924" v="94" actId="692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Weigel Stefan (PAR-ES)" userId="fd3b2067-2981-4ad8-bf3a-d2e1004e4fa8" providerId="ADAL" clId="{565360FF-EC9C-4394-8998-800146E5C447}"/>
    <pc:docChg chg="custSel modSld">
      <pc:chgData name="Weigel Stefan (PAR-ES)" userId="fd3b2067-2981-4ad8-bf3a-d2e1004e4fa8" providerId="ADAL" clId="{565360FF-EC9C-4394-8998-800146E5C447}" dt="2023-01-25T14:27:27.650" v="15" actId="27918"/>
      <pc:docMkLst>
        <pc:docMk/>
      </pc:docMkLst>
      <pc:sldChg chg="modSp mod">
        <pc:chgData name="Weigel Stefan (PAR-ES)" userId="fd3b2067-2981-4ad8-bf3a-d2e1004e4fa8" providerId="ADAL" clId="{565360FF-EC9C-4394-8998-800146E5C447}" dt="2023-01-25T14:27:27.650" v="15" actId="27918"/>
        <pc:sldMkLst>
          <pc:docMk/>
          <pc:sldMk cId="2338066774" sldId="399"/>
        </pc:sldMkLst>
        <pc:spChg chg="mod">
          <ac:chgData name="Weigel Stefan (PAR-ES)" userId="fd3b2067-2981-4ad8-bf3a-d2e1004e4fa8" providerId="ADAL" clId="{565360FF-EC9C-4394-8998-800146E5C447}" dt="2023-01-25T14:26:46.117" v="5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65360FF-EC9C-4394-8998-800146E5C447}" dt="2023-01-25T14:27:05.650" v="11" actId="20577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S)" userId="fd3b2067-2981-4ad8-bf3a-d2e1004e4fa8" providerId="ADAL" clId="{565360FF-EC9C-4394-8998-800146E5C447}" dt="2023-01-25T14:27:15.455" v="12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D2229A7D-FB35-4333-8839-0EE1E4A7C010}"/>
    <pc:docChg chg="custSel modSld">
      <pc:chgData name="Weigel Stefan (PAR-EPS)" userId="fd3b2067-2981-4ad8-bf3a-d2e1004e4fa8" providerId="ADAL" clId="{D2229A7D-FB35-4333-8839-0EE1E4A7C010}" dt="2024-01-10T18:58:34.519" v="18" actId="20577"/>
      <pc:docMkLst>
        <pc:docMk/>
      </pc:docMkLst>
      <pc:sldChg chg="modSp mod">
        <pc:chgData name="Weigel Stefan (PAR-EPS)" userId="fd3b2067-2981-4ad8-bf3a-d2e1004e4fa8" providerId="ADAL" clId="{D2229A7D-FB35-4333-8839-0EE1E4A7C010}" dt="2024-01-10T18:58:34.519" v="18" actId="20577"/>
        <pc:sldMkLst>
          <pc:docMk/>
          <pc:sldMk cId="2338066774" sldId="399"/>
        </pc:sldMkLst>
        <pc:spChg chg="mod">
          <ac:chgData name="Weigel Stefan (PAR-EPS)" userId="fd3b2067-2981-4ad8-bf3a-d2e1004e4fa8" providerId="ADAL" clId="{D2229A7D-FB35-4333-8839-0EE1E4A7C010}" dt="2024-01-10T18:53:24.248" v="1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D2229A7D-FB35-4333-8839-0EE1E4A7C010}" dt="2024-01-10T18:58:34.519" v="18" actId="20577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D2229A7D-FB35-4333-8839-0EE1E4A7C010}" dt="2024-01-10T18:53:30.286" v="2" actId="255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Weigel Stefan (PAR-EPS)" userId="fd3b2067-2981-4ad8-bf3a-d2e1004e4fa8" providerId="ADAL" clId="{86634AE3-7FFE-4B1A-99BD-A5519357C993}"/>
    <pc:docChg chg="modSld">
      <pc:chgData name="Weigel Stefan (PAR-EPS)" userId="fd3b2067-2981-4ad8-bf3a-d2e1004e4fa8" providerId="ADAL" clId="{86634AE3-7FFE-4B1A-99BD-A5519357C993}" dt="2024-01-11T16:51:58.169" v="5" actId="27918"/>
      <pc:docMkLst>
        <pc:docMk/>
      </pc:docMkLst>
      <pc:sldChg chg="mod">
        <pc:chgData name="Weigel Stefan (PAR-EPS)" userId="fd3b2067-2981-4ad8-bf3a-d2e1004e4fa8" providerId="ADAL" clId="{86634AE3-7FFE-4B1A-99BD-A5519357C993}" dt="2024-01-11T16:51:58.169" v="5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3522028368375747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20</c:f>
              <c:strCache>
                <c:ptCount val="1"/>
                <c:pt idx="0">
                  <c:v>Hommes</c:v>
                </c:pt>
              </c:strCache>
            </c:strRef>
          </c:tx>
          <c:spPr>
            <a:solidFill>
              <a:srgbClr val="BDBDBD"/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1:$B$31</c:f>
              <c:strCache>
                <c:ptCount val="11"/>
                <c:pt idx="0">
                  <c:v>moins de 20 ans</c:v>
                </c:pt>
                <c:pt idx="1">
                  <c:v>entre 20 et 24 ans</c:v>
                </c:pt>
                <c:pt idx="2">
                  <c:v>entre 25 et 29 ans</c:v>
                </c:pt>
                <c:pt idx="3">
                  <c:v>entre 30 et 34 ans</c:v>
                </c:pt>
                <c:pt idx="4">
                  <c:v>entre 35 et 39 ans</c:v>
                </c:pt>
                <c:pt idx="5">
                  <c:v>entre 40 et 44 ans</c:v>
                </c:pt>
                <c:pt idx="6">
                  <c:v>entre 45 et 49 ans</c:v>
                </c:pt>
                <c:pt idx="7">
                  <c:v>entre 50 et 54 ans</c:v>
                </c:pt>
                <c:pt idx="8">
                  <c:v>entre 55 et 59 ans</c:v>
                </c:pt>
                <c:pt idx="9">
                  <c:v>entre 60 et 64 ans</c:v>
                </c:pt>
                <c:pt idx="10">
                  <c:v>65 ans et plus</c:v>
                </c:pt>
              </c:strCache>
            </c:strRef>
          </c:cat>
          <c:val>
            <c:numRef>
              <c:f>data!$C$21:$C$31</c:f>
              <c:numCache>
                <c:formatCode>#,##0</c:formatCode>
                <c:ptCount val="11"/>
                <c:pt idx="0">
                  <c:v>-133</c:v>
                </c:pt>
                <c:pt idx="1">
                  <c:v>-1117</c:v>
                </c:pt>
                <c:pt idx="2">
                  <c:v>-2011</c:v>
                </c:pt>
                <c:pt idx="3">
                  <c:v>-2918</c:v>
                </c:pt>
                <c:pt idx="4">
                  <c:v>-3144</c:v>
                </c:pt>
                <c:pt idx="5">
                  <c:v>-3019</c:v>
                </c:pt>
                <c:pt idx="6">
                  <c:v>-2929</c:v>
                </c:pt>
                <c:pt idx="7">
                  <c:v>-3476</c:v>
                </c:pt>
                <c:pt idx="8">
                  <c:v>-4086</c:v>
                </c:pt>
                <c:pt idx="9">
                  <c:v>-2768</c:v>
                </c:pt>
                <c:pt idx="10">
                  <c:v>-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20</c:f>
              <c:strCache>
                <c:ptCount val="1"/>
                <c:pt idx="0">
                  <c:v>Femmes</c:v>
                </c:pt>
              </c:strCache>
            </c:strRef>
          </c:tx>
          <c:spPr>
            <a:solidFill>
              <a:srgbClr val="727272"/>
            </a:solidFill>
            <a:ln>
              <a:noFill/>
            </a:ln>
          </c:spPr>
          <c:invertIfNegative val="0"/>
          <c:cat>
            <c:strRef>
              <c:f>data!$B$21:$B$31</c:f>
              <c:strCache>
                <c:ptCount val="11"/>
                <c:pt idx="0">
                  <c:v>moins de 20 ans</c:v>
                </c:pt>
                <c:pt idx="1">
                  <c:v>entre 20 et 24 ans</c:v>
                </c:pt>
                <c:pt idx="2">
                  <c:v>entre 25 et 29 ans</c:v>
                </c:pt>
                <c:pt idx="3">
                  <c:v>entre 30 et 34 ans</c:v>
                </c:pt>
                <c:pt idx="4">
                  <c:v>entre 35 et 39 ans</c:v>
                </c:pt>
                <c:pt idx="5">
                  <c:v>entre 40 et 44 ans</c:v>
                </c:pt>
                <c:pt idx="6">
                  <c:v>entre 45 et 49 ans</c:v>
                </c:pt>
                <c:pt idx="7">
                  <c:v>entre 50 et 54 ans</c:v>
                </c:pt>
                <c:pt idx="8">
                  <c:v>entre 55 et 59 ans</c:v>
                </c:pt>
                <c:pt idx="9">
                  <c:v>entre 60 et 64 ans</c:v>
                </c:pt>
                <c:pt idx="10">
                  <c:v>65 ans et plus</c:v>
                </c:pt>
              </c:strCache>
            </c:strRef>
          </c:cat>
          <c:val>
            <c:numRef>
              <c:f>data!$D$21:$D$31</c:f>
              <c:numCache>
                <c:formatCode>#,##0</c:formatCode>
                <c:ptCount val="11"/>
                <c:pt idx="0">
                  <c:v>51</c:v>
                </c:pt>
                <c:pt idx="1">
                  <c:v>438</c:v>
                </c:pt>
                <c:pt idx="2">
                  <c:v>805</c:v>
                </c:pt>
                <c:pt idx="3">
                  <c:v>904</c:v>
                </c:pt>
                <c:pt idx="4">
                  <c:v>931</c:v>
                </c:pt>
                <c:pt idx="5">
                  <c:v>791</c:v>
                </c:pt>
                <c:pt idx="6">
                  <c:v>785</c:v>
                </c:pt>
                <c:pt idx="7">
                  <c:v>761</c:v>
                </c:pt>
                <c:pt idx="8">
                  <c:v>578</c:v>
                </c:pt>
                <c:pt idx="9">
                  <c:v>229</c:v>
                </c:pt>
                <c:pt idx="1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5733120"/>
        <c:axId val="125422208"/>
      </c:barChart>
      <c:valAx>
        <c:axId val="125422208"/>
        <c:scaling>
          <c:orientation val="minMax"/>
          <c:max val="2000"/>
          <c:min val="-5000"/>
        </c:scaling>
        <c:delete val="0"/>
        <c:axPos val="b"/>
        <c:majorGridlines/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50">
                <a:solidFill>
                  <a:schemeClr val="tx1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20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050"/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758</cdr:x>
      <cdr:y>0.04657</cdr:y>
    </cdr:from>
    <cdr:to>
      <cdr:x>0.62143</cdr:x>
      <cdr:y>0.0989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576243" y="208331"/>
          <a:ext cx="638564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50" dirty="0"/>
            <a:t>Hommes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6814</cdr:x>
      <cdr:y>0.04427</cdr:y>
    </cdr:from>
    <cdr:to>
      <cdr:x>0.72927</cdr:x>
      <cdr:y>0.09664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681931" y="198042"/>
          <a:ext cx="611312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Femmes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fr-FR" dirty="0"/>
              <a:t>Répartition des collaborateurs selon leur âge en 2023.</a:t>
            </a: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760988" y="5875749"/>
            <a:ext cx="1727767" cy="170649"/>
          </a:xfrm>
        </p:spPr>
        <p:txBody>
          <a:bodyPr/>
          <a:lstStyle/>
          <a:p>
            <a:pPr algn="r"/>
            <a:r>
              <a:rPr lang="de-CH" sz="105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703245" y="6075491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fr-FR" sz="1050" dirty="0">
                <a:latin typeface="+mj-lt"/>
                <a:cs typeface="Arial" pitchFamily="34" charset="0"/>
              </a:rPr>
              <a:t>Moyenne annuelle des collaborateurs. CFF SA et CFF Cargo SA (Suisse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9621643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E0E00D-F670-486B-882C-8DFCB1A945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Répartition des collaborateurs selon leur âge e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épartition des collaborateurs selon leur âge en 2023.</dc:title>
  <dc:creator>Meyer Raphael (KOM-PGA-VSF)</dc:creator>
  <cp:lastModifiedBy>Stefan Weigel (PAR-EPS)</cp:lastModifiedBy>
  <cp:revision>55</cp:revision>
  <dcterms:created xsi:type="dcterms:W3CDTF">2020-09-30T11:00:09Z</dcterms:created>
  <dcterms:modified xsi:type="dcterms:W3CDTF">2024-02-02T11:5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